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1307FE-90C8-A365-33A6-F4FC0EBFB6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D781ED8A-400A-9C3D-5847-39EC419314C1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3267" y="3773862"/>
            <a:ext cx="3132010" cy="2907924"/>
          </a:xfrm>
          <a:prstGeom prst="rect">
            <a:avLst/>
          </a:prstGeom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74EF559-8048-DA82-128D-D549A933CC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4EF559-8048-DA82-128D-D549A933CC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950E86-D1A8-AC32-2C26-8077A7B68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A9C409-BE99-C2BE-4B68-002ED9723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4 Semi circle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8FAD9BD-9A9E-8273-1855-C45741B72B1B}"/>
              </a:ext>
            </a:extLst>
          </p:cNvPr>
          <p:cNvSpPr/>
          <p:nvPr/>
        </p:nvSpPr>
        <p:spPr>
          <a:xfrm>
            <a:off x="3488242" y="2777167"/>
            <a:ext cx="2441029" cy="1741319"/>
          </a:xfrm>
          <a:custGeom>
            <a:avLst/>
            <a:gdLst>
              <a:gd name="connsiteX0" fmla="*/ 2421415 w 2441029"/>
              <a:gd name="connsiteY0" fmla="*/ 0 h 1741319"/>
              <a:gd name="connsiteX1" fmla="*/ 2441029 w 2441029"/>
              <a:gd name="connsiteY1" fmla="*/ 425 h 1741319"/>
              <a:gd name="connsiteX2" fmla="*/ 2441029 w 2441029"/>
              <a:gd name="connsiteY2" fmla="*/ 967944 h 1741319"/>
              <a:gd name="connsiteX3" fmla="*/ 2431344 w 2441029"/>
              <a:gd name="connsiteY3" fmla="*/ 967736 h 1741319"/>
              <a:gd name="connsiteX4" fmla="*/ 1706559 w 2441029"/>
              <a:gd name="connsiteY4" fmla="*/ 1090779 h 1741319"/>
              <a:gd name="connsiteX5" fmla="*/ 1573435 w 2441029"/>
              <a:gd name="connsiteY5" fmla="*/ 1140716 h 1741319"/>
              <a:gd name="connsiteX6" fmla="*/ 1789964 w 2441029"/>
              <a:gd name="connsiteY6" fmla="*/ 1613922 h 1741319"/>
              <a:gd name="connsiteX7" fmla="*/ 1315207 w 2441029"/>
              <a:gd name="connsiteY7" fmla="*/ 1265886 h 1741319"/>
              <a:gd name="connsiteX8" fmla="*/ 1297113 w 2441029"/>
              <a:gd name="connsiteY8" fmla="*/ 1275498 h 1741319"/>
              <a:gd name="connsiteX9" fmla="*/ 815492 w 2441029"/>
              <a:gd name="connsiteY9" fmla="*/ 1643989 h 1741319"/>
              <a:gd name="connsiteX10" fmla="*/ 724478 w 2441029"/>
              <a:gd name="connsiteY10" fmla="*/ 1741319 h 1741319"/>
              <a:gd name="connsiteX11" fmla="*/ 0 w 2441029"/>
              <a:gd name="connsiteY11" fmla="*/ 1100318 h 1741319"/>
              <a:gd name="connsiteX12" fmla="*/ 122010 w 2441029"/>
              <a:gd name="connsiteY12" fmla="*/ 968857 h 1741319"/>
              <a:gd name="connsiteX13" fmla="*/ 804075 w 2441029"/>
              <a:gd name="connsiteY13" fmla="*/ 442662 h 1741319"/>
              <a:gd name="connsiteX14" fmla="*/ 2421415 w 2441029"/>
              <a:gd name="connsiteY14" fmla="*/ 0 h 1741319"/>
              <a:gd name="connsiteX0" fmla="*/ 2421415 w 2441029"/>
              <a:gd name="connsiteY0" fmla="*/ 0 h 1741319"/>
              <a:gd name="connsiteX1" fmla="*/ 2441029 w 2441029"/>
              <a:gd name="connsiteY1" fmla="*/ 425 h 1741319"/>
              <a:gd name="connsiteX2" fmla="*/ 2441029 w 2441029"/>
              <a:gd name="connsiteY2" fmla="*/ 967944 h 1741319"/>
              <a:gd name="connsiteX3" fmla="*/ 2431344 w 2441029"/>
              <a:gd name="connsiteY3" fmla="*/ 967736 h 1741319"/>
              <a:gd name="connsiteX4" fmla="*/ 1706559 w 2441029"/>
              <a:gd name="connsiteY4" fmla="*/ 1090779 h 1741319"/>
              <a:gd name="connsiteX5" fmla="*/ 1573435 w 2441029"/>
              <a:gd name="connsiteY5" fmla="*/ 1140716 h 1741319"/>
              <a:gd name="connsiteX6" fmla="*/ 1315207 w 2441029"/>
              <a:gd name="connsiteY6" fmla="*/ 1265886 h 1741319"/>
              <a:gd name="connsiteX7" fmla="*/ 1297113 w 2441029"/>
              <a:gd name="connsiteY7" fmla="*/ 1275498 h 1741319"/>
              <a:gd name="connsiteX8" fmla="*/ 815492 w 2441029"/>
              <a:gd name="connsiteY8" fmla="*/ 1643989 h 1741319"/>
              <a:gd name="connsiteX9" fmla="*/ 724478 w 2441029"/>
              <a:gd name="connsiteY9" fmla="*/ 1741319 h 1741319"/>
              <a:gd name="connsiteX10" fmla="*/ 0 w 2441029"/>
              <a:gd name="connsiteY10" fmla="*/ 1100318 h 1741319"/>
              <a:gd name="connsiteX11" fmla="*/ 122010 w 2441029"/>
              <a:gd name="connsiteY11" fmla="*/ 968857 h 1741319"/>
              <a:gd name="connsiteX12" fmla="*/ 804075 w 2441029"/>
              <a:gd name="connsiteY12" fmla="*/ 442662 h 1741319"/>
              <a:gd name="connsiteX13" fmla="*/ 2421415 w 2441029"/>
              <a:gd name="connsiteY13" fmla="*/ 0 h 1741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41029" h="1741319">
                <a:moveTo>
                  <a:pt x="2421415" y="0"/>
                </a:moveTo>
                <a:lnTo>
                  <a:pt x="2441029" y="425"/>
                </a:lnTo>
                <a:lnTo>
                  <a:pt x="2441029" y="967944"/>
                </a:lnTo>
                <a:lnTo>
                  <a:pt x="2431344" y="967736"/>
                </a:lnTo>
                <a:cubicBezTo>
                  <a:pt x="2186108" y="970194"/>
                  <a:pt x="1941271" y="1011241"/>
                  <a:pt x="1706559" y="1090779"/>
                </a:cubicBezTo>
                <a:lnTo>
                  <a:pt x="1573435" y="1140716"/>
                </a:lnTo>
                <a:lnTo>
                  <a:pt x="1315207" y="1265886"/>
                </a:lnTo>
                <a:lnTo>
                  <a:pt x="1297113" y="1275498"/>
                </a:lnTo>
                <a:cubicBezTo>
                  <a:pt x="1118229" y="1378139"/>
                  <a:pt x="956821" y="1502478"/>
                  <a:pt x="815492" y="1643989"/>
                </a:cubicBezTo>
                <a:lnTo>
                  <a:pt x="724478" y="1741319"/>
                </a:lnTo>
                <a:lnTo>
                  <a:pt x="0" y="1100318"/>
                </a:lnTo>
                <a:lnTo>
                  <a:pt x="122010" y="968857"/>
                </a:lnTo>
                <a:cubicBezTo>
                  <a:pt x="322135" y="766937"/>
                  <a:pt x="550714" y="589397"/>
                  <a:pt x="804075" y="442662"/>
                </a:cubicBezTo>
                <a:cubicBezTo>
                  <a:pt x="1303542" y="153395"/>
                  <a:pt x="1861745" y="5648"/>
                  <a:pt x="242141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3D849065-9B37-A409-DE89-5C63671767CC}"/>
              </a:ext>
            </a:extLst>
          </p:cNvPr>
          <p:cNvSpPr/>
          <p:nvPr/>
        </p:nvSpPr>
        <p:spPr>
          <a:xfrm>
            <a:off x="5984134" y="2778779"/>
            <a:ext cx="2452170" cy="1785282"/>
          </a:xfrm>
          <a:custGeom>
            <a:avLst/>
            <a:gdLst>
              <a:gd name="connsiteX0" fmla="*/ 0 w 2452170"/>
              <a:gd name="connsiteY0" fmla="*/ 0 h 1785282"/>
              <a:gd name="connsiteX1" fmla="*/ 135355 w 2452170"/>
              <a:gd name="connsiteY1" fmla="*/ 2931 h 1785282"/>
              <a:gd name="connsiteX2" fmla="*/ 1551657 w 2452170"/>
              <a:gd name="connsiteY2" fmla="*/ 408316 h 1785282"/>
              <a:gd name="connsiteX3" fmla="*/ 2392089 w 2452170"/>
              <a:gd name="connsiteY3" fmla="*/ 1073334 h 1785282"/>
              <a:gd name="connsiteX4" fmla="*/ 2452170 w 2452170"/>
              <a:gd name="connsiteY4" fmla="*/ 1144211 h 1785282"/>
              <a:gd name="connsiteX5" fmla="*/ 1727616 w 2452170"/>
              <a:gd name="connsiteY5" fmla="*/ 1785282 h 1785282"/>
              <a:gd name="connsiteX6" fmla="*/ 1669145 w 2452170"/>
              <a:gd name="connsiteY6" fmla="*/ 1716806 h 1785282"/>
              <a:gd name="connsiteX7" fmla="*/ 1075810 w 2452170"/>
              <a:gd name="connsiteY7" fmla="*/ 1251090 h 1785282"/>
              <a:gd name="connsiteX8" fmla="*/ 1035280 w 2452170"/>
              <a:gd name="connsiteY8" fmla="*/ 1231817 h 1785282"/>
              <a:gd name="connsiteX9" fmla="*/ 525523 w 2452170"/>
              <a:gd name="connsiteY9" fmla="*/ 1614134 h 1785282"/>
              <a:gd name="connsiteX10" fmla="*/ 750496 w 2452170"/>
              <a:gd name="connsiteY10" fmla="*/ 1107945 h 1785282"/>
              <a:gd name="connsiteX11" fmla="*/ 591469 w 2452170"/>
              <a:gd name="connsiteY11" fmla="*/ 1053330 h 1785282"/>
              <a:gd name="connsiteX12" fmla="*/ 82563 w 2452170"/>
              <a:gd name="connsiteY12" fmla="*/ 969280 h 1785282"/>
              <a:gd name="connsiteX13" fmla="*/ 0 w 2452170"/>
              <a:gd name="connsiteY13" fmla="*/ 967508 h 1785282"/>
              <a:gd name="connsiteX0" fmla="*/ 0 w 2452170"/>
              <a:gd name="connsiteY0" fmla="*/ 0 h 1785282"/>
              <a:gd name="connsiteX1" fmla="*/ 135355 w 2452170"/>
              <a:gd name="connsiteY1" fmla="*/ 2931 h 1785282"/>
              <a:gd name="connsiteX2" fmla="*/ 1551657 w 2452170"/>
              <a:gd name="connsiteY2" fmla="*/ 408316 h 1785282"/>
              <a:gd name="connsiteX3" fmla="*/ 2392089 w 2452170"/>
              <a:gd name="connsiteY3" fmla="*/ 1073334 h 1785282"/>
              <a:gd name="connsiteX4" fmla="*/ 2452170 w 2452170"/>
              <a:gd name="connsiteY4" fmla="*/ 1144211 h 1785282"/>
              <a:gd name="connsiteX5" fmla="*/ 1727616 w 2452170"/>
              <a:gd name="connsiteY5" fmla="*/ 1785282 h 1785282"/>
              <a:gd name="connsiteX6" fmla="*/ 1669145 w 2452170"/>
              <a:gd name="connsiteY6" fmla="*/ 1716806 h 1785282"/>
              <a:gd name="connsiteX7" fmla="*/ 1075810 w 2452170"/>
              <a:gd name="connsiteY7" fmla="*/ 1251090 h 1785282"/>
              <a:gd name="connsiteX8" fmla="*/ 1035280 w 2452170"/>
              <a:gd name="connsiteY8" fmla="*/ 1231817 h 1785282"/>
              <a:gd name="connsiteX9" fmla="*/ 750496 w 2452170"/>
              <a:gd name="connsiteY9" fmla="*/ 1107945 h 1785282"/>
              <a:gd name="connsiteX10" fmla="*/ 591469 w 2452170"/>
              <a:gd name="connsiteY10" fmla="*/ 1053330 h 1785282"/>
              <a:gd name="connsiteX11" fmla="*/ 82563 w 2452170"/>
              <a:gd name="connsiteY11" fmla="*/ 969280 h 1785282"/>
              <a:gd name="connsiteX12" fmla="*/ 0 w 2452170"/>
              <a:gd name="connsiteY12" fmla="*/ 967508 h 1785282"/>
              <a:gd name="connsiteX13" fmla="*/ 0 w 2452170"/>
              <a:gd name="connsiteY13" fmla="*/ 0 h 1785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52170" h="1785282">
                <a:moveTo>
                  <a:pt x="0" y="0"/>
                </a:moveTo>
                <a:lnTo>
                  <a:pt x="135355" y="2931"/>
                </a:lnTo>
                <a:cubicBezTo>
                  <a:pt x="624604" y="29081"/>
                  <a:pt x="1109493" y="164080"/>
                  <a:pt x="1551657" y="408316"/>
                </a:cubicBezTo>
                <a:cubicBezTo>
                  <a:pt x="1871968" y="585245"/>
                  <a:pt x="2154586" y="811047"/>
                  <a:pt x="2392089" y="1073334"/>
                </a:cubicBezTo>
                <a:lnTo>
                  <a:pt x="2452170" y="1144211"/>
                </a:lnTo>
                <a:lnTo>
                  <a:pt x="1727616" y="1785282"/>
                </a:lnTo>
                <a:lnTo>
                  <a:pt x="1669145" y="1716806"/>
                </a:lnTo>
                <a:cubicBezTo>
                  <a:pt x="1501445" y="1532970"/>
                  <a:pt x="1301913" y="1374824"/>
                  <a:pt x="1075810" y="1251090"/>
                </a:cubicBezTo>
                <a:lnTo>
                  <a:pt x="1035280" y="1231817"/>
                </a:lnTo>
                <a:lnTo>
                  <a:pt x="750496" y="1107945"/>
                </a:lnTo>
                <a:lnTo>
                  <a:pt x="591469" y="1053330"/>
                </a:lnTo>
                <a:cubicBezTo>
                  <a:pt x="424816" y="1006373"/>
                  <a:pt x="254068" y="978367"/>
                  <a:pt x="82563" y="969280"/>
                </a:cubicBezTo>
                <a:lnTo>
                  <a:pt x="0" y="96750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573B5FD-5191-F366-76C1-9BA5A16050D4}"/>
              </a:ext>
            </a:extLst>
          </p:cNvPr>
          <p:cNvSpPr/>
          <p:nvPr/>
        </p:nvSpPr>
        <p:spPr>
          <a:xfrm>
            <a:off x="2676219" y="3918645"/>
            <a:ext cx="1500908" cy="2129441"/>
          </a:xfrm>
          <a:custGeom>
            <a:avLst/>
            <a:gdLst>
              <a:gd name="connsiteX0" fmla="*/ 775746 w 1738635"/>
              <a:gd name="connsiteY0" fmla="*/ 0 h 2129441"/>
              <a:gd name="connsiteX1" fmla="*/ 1500908 w 1738635"/>
              <a:gd name="connsiteY1" fmla="*/ 641607 h 2129441"/>
              <a:gd name="connsiteX2" fmla="*/ 1430904 w 1738635"/>
              <a:gd name="connsiteY2" fmla="*/ 727092 h 2129441"/>
              <a:gd name="connsiteX3" fmla="*/ 1324185 w 1738635"/>
              <a:gd name="connsiteY3" fmla="*/ 879028 h 2129441"/>
              <a:gd name="connsiteX4" fmla="*/ 1233989 w 1738635"/>
              <a:gd name="connsiteY4" fmla="*/ 1032870 h 2129441"/>
              <a:gd name="connsiteX5" fmla="*/ 1738635 w 1738635"/>
              <a:gd name="connsiteY5" fmla="*/ 1408984 h 2129441"/>
              <a:gd name="connsiteX6" fmla="*/ 1104549 w 1738635"/>
              <a:gd name="connsiteY6" fmla="*/ 1325171 h 2129441"/>
              <a:gd name="connsiteX7" fmla="*/ 1083960 w 1738635"/>
              <a:gd name="connsiteY7" fmla="*/ 1378969 h 2129441"/>
              <a:gd name="connsiteX8" fmla="*/ 967964 w 1738635"/>
              <a:gd name="connsiteY8" fmla="*/ 2117602 h 2129441"/>
              <a:gd name="connsiteX9" fmla="*/ 250 w 1738635"/>
              <a:gd name="connsiteY9" fmla="*/ 2129441 h 2129441"/>
              <a:gd name="connsiteX10" fmla="*/ 655642 w 1738635"/>
              <a:gd name="connsiteY10" fmla="*/ 147741 h 2129441"/>
              <a:gd name="connsiteX0" fmla="*/ 775746 w 1500908"/>
              <a:gd name="connsiteY0" fmla="*/ 0 h 2129441"/>
              <a:gd name="connsiteX1" fmla="*/ 1500908 w 1500908"/>
              <a:gd name="connsiteY1" fmla="*/ 641607 h 2129441"/>
              <a:gd name="connsiteX2" fmla="*/ 1430904 w 1500908"/>
              <a:gd name="connsiteY2" fmla="*/ 727092 h 2129441"/>
              <a:gd name="connsiteX3" fmla="*/ 1324185 w 1500908"/>
              <a:gd name="connsiteY3" fmla="*/ 879028 h 2129441"/>
              <a:gd name="connsiteX4" fmla="*/ 1233989 w 1500908"/>
              <a:gd name="connsiteY4" fmla="*/ 1032870 h 2129441"/>
              <a:gd name="connsiteX5" fmla="*/ 1104549 w 1500908"/>
              <a:gd name="connsiteY5" fmla="*/ 1325171 h 2129441"/>
              <a:gd name="connsiteX6" fmla="*/ 1083960 w 1500908"/>
              <a:gd name="connsiteY6" fmla="*/ 1378969 h 2129441"/>
              <a:gd name="connsiteX7" fmla="*/ 967964 w 1500908"/>
              <a:gd name="connsiteY7" fmla="*/ 2117602 h 2129441"/>
              <a:gd name="connsiteX8" fmla="*/ 250 w 1500908"/>
              <a:gd name="connsiteY8" fmla="*/ 2129441 h 2129441"/>
              <a:gd name="connsiteX9" fmla="*/ 655642 w 1500908"/>
              <a:gd name="connsiteY9" fmla="*/ 147741 h 2129441"/>
              <a:gd name="connsiteX10" fmla="*/ 775746 w 1500908"/>
              <a:gd name="connsiteY10" fmla="*/ 0 h 2129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00908" h="2129441">
                <a:moveTo>
                  <a:pt x="775746" y="0"/>
                </a:moveTo>
                <a:lnTo>
                  <a:pt x="1500908" y="641607"/>
                </a:lnTo>
                <a:lnTo>
                  <a:pt x="1430904" y="727092"/>
                </a:lnTo>
                <a:cubicBezTo>
                  <a:pt x="1393217" y="776328"/>
                  <a:pt x="1357617" y="827019"/>
                  <a:pt x="1324185" y="879028"/>
                </a:cubicBezTo>
                <a:lnTo>
                  <a:pt x="1233989" y="1032870"/>
                </a:lnTo>
                <a:lnTo>
                  <a:pt x="1104549" y="1325171"/>
                </a:lnTo>
                <a:lnTo>
                  <a:pt x="1083960" y="1378969"/>
                </a:lnTo>
                <a:cubicBezTo>
                  <a:pt x="1005108" y="1613667"/>
                  <a:pt x="964748" y="1862824"/>
                  <a:pt x="967964" y="2117602"/>
                </a:cubicBezTo>
                <a:lnTo>
                  <a:pt x="250" y="2129441"/>
                </a:lnTo>
                <a:cubicBezTo>
                  <a:pt x="-8828" y="1403507"/>
                  <a:pt x="228756" y="709476"/>
                  <a:pt x="655642" y="147741"/>
                </a:cubicBezTo>
                <a:lnTo>
                  <a:pt x="775746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9F9DECC-5F8E-B53D-8373-6B35431473C0}"/>
              </a:ext>
            </a:extLst>
          </p:cNvPr>
          <p:cNvSpPr/>
          <p:nvPr/>
        </p:nvSpPr>
        <p:spPr>
          <a:xfrm>
            <a:off x="7747382" y="3964852"/>
            <a:ext cx="1462258" cy="2024223"/>
          </a:xfrm>
          <a:custGeom>
            <a:avLst/>
            <a:gdLst>
              <a:gd name="connsiteX0" fmla="*/ 1010142 w 1747994"/>
              <a:gd name="connsiteY0" fmla="*/ 0 h 2024223"/>
              <a:gd name="connsiteX1" fmla="*/ 1051606 w 1747994"/>
              <a:gd name="connsiteY1" fmla="*/ 48914 h 2024223"/>
              <a:gd name="connsiteX2" fmla="*/ 1747994 w 1747994"/>
              <a:gd name="connsiteY2" fmla="*/ 2016205 h 2024223"/>
              <a:gd name="connsiteX3" fmla="*/ 780239 w 1747994"/>
              <a:gd name="connsiteY3" fmla="*/ 2024223 h 2024223"/>
              <a:gd name="connsiteX4" fmla="*/ 648751 w 1747994"/>
              <a:gd name="connsiteY4" fmla="*/ 1288459 h 2024223"/>
              <a:gd name="connsiteX5" fmla="*/ 645266 w 1747994"/>
              <a:gd name="connsiteY5" fmla="*/ 1279894 h 2024223"/>
              <a:gd name="connsiteX6" fmla="*/ 0 w 1747994"/>
              <a:gd name="connsiteY6" fmla="*/ 1316681 h 2024223"/>
              <a:gd name="connsiteX7" fmla="*/ 514552 w 1747994"/>
              <a:gd name="connsiteY7" fmla="*/ 989752 h 2024223"/>
              <a:gd name="connsiteX8" fmla="*/ 495207 w 1747994"/>
              <a:gd name="connsiteY8" fmla="*/ 951565 h 2024223"/>
              <a:gd name="connsiteX9" fmla="*/ 288392 w 1747994"/>
              <a:gd name="connsiteY9" fmla="*/ 644049 h 2024223"/>
              <a:gd name="connsiteX10" fmla="*/ 285736 w 1747994"/>
              <a:gd name="connsiteY10" fmla="*/ 640939 h 2024223"/>
              <a:gd name="connsiteX0" fmla="*/ 724406 w 1462258"/>
              <a:gd name="connsiteY0" fmla="*/ 0 h 2024223"/>
              <a:gd name="connsiteX1" fmla="*/ 765870 w 1462258"/>
              <a:gd name="connsiteY1" fmla="*/ 48914 h 2024223"/>
              <a:gd name="connsiteX2" fmla="*/ 1462258 w 1462258"/>
              <a:gd name="connsiteY2" fmla="*/ 2016205 h 2024223"/>
              <a:gd name="connsiteX3" fmla="*/ 494503 w 1462258"/>
              <a:gd name="connsiteY3" fmla="*/ 2024223 h 2024223"/>
              <a:gd name="connsiteX4" fmla="*/ 363015 w 1462258"/>
              <a:gd name="connsiteY4" fmla="*/ 1288459 h 2024223"/>
              <a:gd name="connsiteX5" fmla="*/ 359530 w 1462258"/>
              <a:gd name="connsiteY5" fmla="*/ 1279894 h 2024223"/>
              <a:gd name="connsiteX6" fmla="*/ 228816 w 1462258"/>
              <a:gd name="connsiteY6" fmla="*/ 989752 h 2024223"/>
              <a:gd name="connsiteX7" fmla="*/ 209471 w 1462258"/>
              <a:gd name="connsiteY7" fmla="*/ 951565 h 2024223"/>
              <a:gd name="connsiteX8" fmla="*/ 2656 w 1462258"/>
              <a:gd name="connsiteY8" fmla="*/ 644049 h 2024223"/>
              <a:gd name="connsiteX9" fmla="*/ 0 w 1462258"/>
              <a:gd name="connsiteY9" fmla="*/ 640939 h 2024223"/>
              <a:gd name="connsiteX10" fmla="*/ 724406 w 1462258"/>
              <a:gd name="connsiteY10" fmla="*/ 0 h 2024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62258" h="2024223">
                <a:moveTo>
                  <a:pt x="724406" y="0"/>
                </a:moveTo>
                <a:lnTo>
                  <a:pt x="765870" y="48914"/>
                </a:lnTo>
                <a:cubicBezTo>
                  <a:pt x="1204189" y="601685"/>
                  <a:pt x="1456110" y="1290485"/>
                  <a:pt x="1462258" y="2016205"/>
                </a:cubicBezTo>
                <a:lnTo>
                  <a:pt x="494503" y="2024223"/>
                </a:lnTo>
                <a:cubicBezTo>
                  <a:pt x="492326" y="1769557"/>
                  <a:pt x="446743" y="1521395"/>
                  <a:pt x="363015" y="1288459"/>
                </a:cubicBezTo>
                <a:lnTo>
                  <a:pt x="359530" y="1279894"/>
                </a:lnTo>
                <a:lnTo>
                  <a:pt x="228816" y="989752"/>
                </a:lnTo>
                <a:lnTo>
                  <a:pt x="209471" y="951565"/>
                </a:lnTo>
                <a:cubicBezTo>
                  <a:pt x="149192" y="843800"/>
                  <a:pt x="80035" y="740931"/>
                  <a:pt x="2656" y="644049"/>
                </a:cubicBezTo>
                <a:lnTo>
                  <a:pt x="0" y="640939"/>
                </a:lnTo>
                <a:lnTo>
                  <a:pt x="724406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9" name="ZenIcon1">
            <a:extLst>
              <a:ext uri="{FF2B5EF4-FFF2-40B4-BE49-F238E27FC236}">
                <a16:creationId xmlns:a16="http://schemas.microsoft.com/office/drawing/2014/main" id="{904170AC-96C7-F28B-0BB6-813A2F42A32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381577" y="4778601"/>
            <a:ext cx="452757" cy="452757"/>
            <a:chOff x="5712408" y="975680"/>
            <a:chExt cx="671729" cy="639391"/>
          </a:xfrm>
        </p:grpSpPr>
        <p:sp>
          <p:nvSpPr>
            <p:cNvPr id="10" name="Freeform 26">
              <a:extLst>
                <a:ext uri="{FF2B5EF4-FFF2-40B4-BE49-F238E27FC236}">
                  <a16:creationId xmlns:a16="http://schemas.microsoft.com/office/drawing/2014/main" id="{4F460ED1-C5F4-212A-C76B-952DD83A3D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1" name="Freeform 27">
              <a:extLst>
                <a:ext uri="{FF2B5EF4-FFF2-40B4-BE49-F238E27FC236}">
                  <a16:creationId xmlns:a16="http://schemas.microsoft.com/office/drawing/2014/main" id="{AA5C9C99-6F56-8F3E-342A-568BDD59D0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00DA8596-4045-DE9D-6A53-3CA5B8B3A3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14331DA2-79FB-82F0-9A78-96FEFBDC1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30D0D4A2-8E88-A92C-13CF-A0DF20915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541C999C-4A05-03FA-86FB-8AD588E84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16" name="ZenIcon2">
            <a:extLst>
              <a:ext uri="{FF2B5EF4-FFF2-40B4-BE49-F238E27FC236}">
                <a16:creationId xmlns:a16="http://schemas.microsoft.com/office/drawing/2014/main" id="{8BF83A45-1A67-1EC7-592E-B2DB034D6AFF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4514115" y="3264595"/>
            <a:ext cx="452757" cy="452757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17" name="ZenIcon3">
            <a:extLst>
              <a:ext uri="{FF2B5EF4-FFF2-40B4-BE49-F238E27FC236}">
                <a16:creationId xmlns:a16="http://schemas.microsoft.com/office/drawing/2014/main" id="{363518F0-A70F-643D-9E77-F787F5412A0B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6837590" y="3159663"/>
            <a:ext cx="452757" cy="453884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8" name="ZenIcon4">
            <a:extLst>
              <a:ext uri="{FF2B5EF4-FFF2-40B4-BE49-F238E27FC236}">
                <a16:creationId xmlns:a16="http://schemas.microsoft.com/office/drawing/2014/main" id="{8149B995-C6FA-16A1-2163-66BADD07EEE6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179991" y="4763610"/>
            <a:ext cx="452757" cy="452757"/>
            <a:chOff x="-4769427" y="-314325"/>
            <a:chExt cx="4660901" cy="4576762"/>
          </a:xfrm>
        </p:grpSpPr>
        <p:sp>
          <p:nvSpPr>
            <p:cNvPr id="19" name="Freeform 23">
              <a:extLst>
                <a:ext uri="{FF2B5EF4-FFF2-40B4-BE49-F238E27FC236}">
                  <a16:creationId xmlns:a16="http://schemas.microsoft.com/office/drawing/2014/main" id="{0E524155-2184-20CD-8F9B-3938CB9925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4">
              <a:extLst>
                <a:ext uri="{FF2B5EF4-FFF2-40B4-BE49-F238E27FC236}">
                  <a16:creationId xmlns:a16="http://schemas.microsoft.com/office/drawing/2014/main" id="{B8E715B1-0387-4FFD-91CD-89DA91CB4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5">
              <a:extLst>
                <a:ext uri="{FF2B5EF4-FFF2-40B4-BE49-F238E27FC236}">
                  <a16:creationId xmlns:a16="http://schemas.microsoft.com/office/drawing/2014/main" id="{629E3479-99EE-98E2-F113-D68EA7B1E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6">
              <a:extLst>
                <a:ext uri="{FF2B5EF4-FFF2-40B4-BE49-F238E27FC236}">
                  <a16:creationId xmlns:a16="http://schemas.microsoft.com/office/drawing/2014/main" id="{4D46A58B-AA2A-E47E-A561-A4AD3238C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7">
              <a:extLst>
                <a:ext uri="{FF2B5EF4-FFF2-40B4-BE49-F238E27FC236}">
                  <a16:creationId xmlns:a16="http://schemas.microsoft.com/office/drawing/2014/main" id="{2B53C9E0-7526-E158-5F2A-11D863BE7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8">
              <a:extLst>
                <a:ext uri="{FF2B5EF4-FFF2-40B4-BE49-F238E27FC236}">
                  <a16:creationId xmlns:a16="http://schemas.microsoft.com/office/drawing/2014/main" id="{95DC1A39-0AE1-93C7-A2D3-4607F9455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17D1371-8CB7-C25A-8B3E-36E517A34A92}"/>
              </a:ext>
            </a:extLst>
          </p:cNvPr>
          <p:cNvSpPr txBox="1"/>
          <p:nvPr/>
        </p:nvSpPr>
        <p:spPr>
          <a:xfrm>
            <a:off x="486140" y="4419960"/>
            <a:ext cx="2220107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555743B-6E10-26A4-D352-DAF98094E91A}"/>
              </a:ext>
            </a:extLst>
          </p:cNvPr>
          <p:cNvSpPr txBox="1"/>
          <p:nvPr/>
        </p:nvSpPr>
        <p:spPr>
          <a:xfrm>
            <a:off x="1977634" y="2216406"/>
            <a:ext cx="2212640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013F1ED-295B-485C-CDFD-A51C59058715}"/>
              </a:ext>
            </a:extLst>
          </p:cNvPr>
          <p:cNvSpPr txBox="1"/>
          <p:nvPr/>
        </p:nvSpPr>
        <p:spPr>
          <a:xfrm>
            <a:off x="7439880" y="2096485"/>
            <a:ext cx="2452170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5410BD8-E542-0688-6CD5-AB3AE0A47D82}"/>
              </a:ext>
            </a:extLst>
          </p:cNvPr>
          <p:cNvSpPr txBox="1"/>
          <p:nvPr/>
        </p:nvSpPr>
        <p:spPr>
          <a:xfrm>
            <a:off x="9253690" y="4389980"/>
            <a:ext cx="2452170" cy="93979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latin typeface="+mj-lt"/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Insert your text here Insert your text here Insert your text here Insert your text her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1438983-84FD-DC5F-1E60-BC48243DCF5D}"/>
              </a:ext>
            </a:extLst>
          </p:cNvPr>
          <p:cNvGrpSpPr/>
          <p:nvPr/>
        </p:nvGrpSpPr>
        <p:grpSpPr>
          <a:xfrm>
            <a:off x="5101654" y="4614450"/>
            <a:ext cx="1538990" cy="1545630"/>
            <a:chOff x="5326506" y="4614450"/>
            <a:chExt cx="1538990" cy="154563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F58CAD2-8494-A086-C2D4-965792526FDD}"/>
                </a:ext>
              </a:extLst>
            </p:cNvPr>
            <p:cNvSpPr/>
            <p:nvPr/>
          </p:nvSpPr>
          <p:spPr>
            <a:xfrm flipV="1">
              <a:off x="5326506" y="4614450"/>
              <a:ext cx="1538990" cy="1545630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Title 1">
              <a:extLst>
                <a:ext uri="{FF2B5EF4-FFF2-40B4-BE49-F238E27FC236}">
                  <a16:creationId xmlns:a16="http://schemas.microsoft.com/office/drawing/2014/main" id="{DF0B619C-6C00-203C-9523-1218FA78E817}"/>
                </a:ext>
              </a:extLst>
            </p:cNvPr>
            <p:cNvSpPr txBox="1">
              <a:spLocks/>
            </p:cNvSpPr>
            <p:nvPr/>
          </p:nvSpPr>
          <p:spPr>
            <a:xfrm>
              <a:off x="5445988" y="5093350"/>
              <a:ext cx="1300026" cy="587830"/>
            </a:xfrm>
            <a:prstGeom prst="rect">
              <a:avLst/>
            </a:prstGeom>
          </p:spPr>
          <p:txBody>
            <a:bodyPr/>
            <a:lstStyle>
              <a:lvl1pPr algn="l" defTabSz="182843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defTabSz="457152">
                <a:buClr>
                  <a:srgbClr val="0070C0"/>
                </a:buClr>
                <a:defRPr/>
              </a:pPr>
              <a:r>
                <a:rPr lang="en-IN" sz="2000" b="1" dirty="0">
                  <a:solidFill>
                    <a:schemeClr val="tx2"/>
                  </a:solidFill>
                  <a:latin typeface="+mn-lt"/>
                  <a:ea typeface="Open Sans ExtraBold" charset="0"/>
                  <a:cs typeface="Open Sans ExtraBold" charset="0"/>
                </a:rPr>
                <a:t>INSERT</a:t>
              </a:r>
              <a:r>
                <a:rPr lang="en-IN" sz="2000" b="1" dirty="0">
                  <a:solidFill>
                    <a:schemeClr val="tx2"/>
                  </a:solidFill>
                  <a:latin typeface="+mn-lt"/>
                </a:rPr>
                <a:t> </a:t>
              </a:r>
              <a:br>
                <a:rPr lang="en-IN" sz="1200" b="1" dirty="0">
                  <a:solidFill>
                    <a:schemeClr val="tx2"/>
                  </a:solidFill>
                  <a:latin typeface="+mn-lt"/>
                </a:rPr>
              </a:br>
              <a:r>
                <a:rPr lang="en-IN" sz="1100" dirty="0">
                  <a:solidFill>
                    <a:schemeClr val="tx2"/>
                  </a:solidFill>
                  <a:latin typeface="+mn-lt"/>
                </a:rPr>
                <a:t>SUB-HEADING</a:t>
              </a:r>
              <a:endParaRPr lang="en-IN" sz="1000" dirty="0">
                <a:solidFill>
                  <a:schemeClr val="tx2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1055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2</TotalTime>
  <Words>89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Open Sans Light</vt:lpstr>
      <vt:lpstr>Wingdings</vt:lpstr>
      <vt:lpstr>Office Theme</vt:lpstr>
      <vt:lpstr>think-cell Slide</vt:lpstr>
      <vt:lpstr>4 Semi circl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45</cp:revision>
  <dcterms:created xsi:type="dcterms:W3CDTF">2021-03-31T02:49:57Z</dcterms:created>
  <dcterms:modified xsi:type="dcterms:W3CDTF">2025-10-15T08:26:01Z</dcterms:modified>
  <cp:category/>
</cp:coreProperties>
</file>